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2147375589" r:id="rId6"/>
    <p:sldId id="4848" r:id="rId7"/>
    <p:sldId id="2147375597" r:id="rId8"/>
    <p:sldId id="2147375601" r:id="rId9"/>
    <p:sldId id="2147375602" r:id="rId10"/>
    <p:sldId id="2147375603" r:id="rId11"/>
    <p:sldId id="2147375606" r:id="rId12"/>
    <p:sldId id="2147375607" r:id="rId13"/>
    <p:sldId id="2147375612" r:id="rId14"/>
    <p:sldId id="2147375631" r:id="rId15"/>
    <p:sldId id="2147375614" r:id="rId16"/>
    <p:sldId id="163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6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676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9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  <p:transition spd="med">
    <p:pull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  <p:transition spd="med">
    <p:pull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  <p:transition spd="med">
    <p:pull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  <p:transition spd="med">
    <p:pull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  <p:transition spd="med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  <p:transition spd="med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  <p:transition spd="med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  <p:transition spd="med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  <p:transition spd="med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  <p:transition spd="med">
    <p:pull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  <p:transition spd="med"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  <p:transition spd="med">
    <p:pull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  <p:transition spd="med">
    <p:pull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transition spd="med">
    <p:pull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321097"/>
            <a:ext cx="10525125" cy="1882567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Reflections for the training </a:t>
            </a:r>
          </a:p>
          <a:p>
            <a:r>
              <a:rPr lang="en-US" sz="4000" b="0" dirty="0"/>
              <a:t>16/09/2024 to 19/09/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akshi Neeraj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19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p:transition spd="med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303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D8A138-9702-DF35-8C6D-DB7F53ACED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338365"/>
            <a:ext cx="12192000" cy="48836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6FD963C-98E8-BBA6-ABD9-4AA666E1EDEA}"/>
              </a:ext>
            </a:extLst>
          </p:cNvPr>
          <p:cNvSpPr txBox="1"/>
          <p:nvPr/>
        </p:nvSpPr>
        <p:spPr>
          <a:xfrm>
            <a:off x="4988561" y="789314"/>
            <a:ext cx="2712720" cy="382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ase Study Presentation </a:t>
            </a:r>
          </a:p>
        </p:txBody>
      </p:sp>
    </p:spTree>
    <p:extLst>
      <p:ext uri="{BB962C8B-B14F-4D97-AF65-F5344CB8AC3E}">
        <p14:creationId xmlns:p14="http://schemas.microsoft.com/office/powerpoint/2010/main" val="2243081702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723664" y="1463040"/>
            <a:ext cx="10200641" cy="44921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1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13FBA5-ECB7-FC56-A4A0-4F9E143B106F}"/>
              </a:ext>
            </a:extLst>
          </p:cNvPr>
          <p:cNvSpPr txBox="1"/>
          <p:nvPr/>
        </p:nvSpPr>
        <p:spPr>
          <a:xfrm>
            <a:off x="463550" y="1541315"/>
            <a:ext cx="942848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t about DevOps practices</a:t>
            </a:r>
          </a:p>
          <a:p>
            <a:pPr marL="0" indent="0">
              <a:buNone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t about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cker</a:t>
            </a:r>
            <a:endParaRPr 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ubern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ef</a:t>
            </a:r>
          </a:p>
          <a:p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ed case study wit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aninerizatio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Web App and also automating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rastrucutr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etup of Azure VMs using Chef IAC</a:t>
            </a:r>
            <a:endParaRPr lang="en-US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668065" y="2042160"/>
            <a:ext cx="5612867" cy="27736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B. Tech Computer Science Engine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pecialized in Data Science and Analytic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ermanent resident at Delhi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rganized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Good at time managemen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obby is cooking 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92240" y="2042159"/>
            <a:ext cx="5120640" cy="277368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Organized</a:t>
            </a: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3C355C-0F36-771F-161E-0D36E4DD0D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7674" y="2169160"/>
            <a:ext cx="4843922" cy="20726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57BFF7-707C-D4BF-3BA3-6E9B3CB9CF9B}"/>
              </a:ext>
            </a:extLst>
          </p:cNvPr>
          <p:cNvSpPr txBox="1"/>
          <p:nvPr/>
        </p:nvSpPr>
        <p:spPr>
          <a:xfrm>
            <a:off x="7853680" y="4344154"/>
            <a:ext cx="2763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Organized and managed</a:t>
            </a:r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286163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77991" y="1626106"/>
            <a:ext cx="10289433" cy="33624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2000" dirty="0"/>
              <a:t>In this week we learnt about Docker as a containerization tool and Kubernetes for container orchestration.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2000" dirty="0"/>
              <a:t>We learnt about different monitoring tools like Prometheus and Grafana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sz="2000" dirty="0"/>
              <a:t>We also wrote Infrastructure as a Code in Chef to automate configuration of Virtual Machines</a:t>
            </a: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8202" y="2369499"/>
            <a:ext cx="5653806" cy="266986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erformed case study with the following objectives-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 make a Flask based Web Application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ainerize it using Docker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figure VMs using Chef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anage the container using Kubernetes</a:t>
            </a: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he Web Application should be monitored using Prometheus and Grafana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186519" y="1587179"/>
            <a:ext cx="5350706" cy="45183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Containerized Docker Appl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AE42BD-A00C-C839-D2D7-BF7B6ADBA0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1423" y="1939581"/>
            <a:ext cx="3475258" cy="1680212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7CE78105-4CAE-8F29-FACA-EC5F93798F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1122" y="3846331"/>
            <a:ext cx="4381500" cy="129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s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BCA530-42B9-BDAB-E36D-C6C1804D93A1}"/>
              </a:ext>
            </a:extLst>
          </p:cNvPr>
          <p:cNvSpPr txBox="1"/>
          <p:nvPr/>
        </p:nvSpPr>
        <p:spPr>
          <a:xfrm>
            <a:off x="483133" y="1910080"/>
            <a:ext cx="8583949" cy="2118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arning about containerization techniques like Docker will help an organization to deliver its applications and products in software efficient and scalab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hef to automate configurations of infrastructure helps organizations to manage remote resources like Virtual Machines which can be eventually used for production of services and application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666519-F0BD-8196-C8FC-E6ECF7162EEA}"/>
              </a:ext>
            </a:extLst>
          </p:cNvPr>
          <p:cNvSpPr txBox="1"/>
          <p:nvPr/>
        </p:nvSpPr>
        <p:spPr>
          <a:xfrm>
            <a:off x="483133" y="1910080"/>
            <a:ext cx="8583949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mplementing Kubernetes and joining control plane and worker node in a cluster was difficul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utoscaling of Kubernetes Clusters needs knowledge about Kubernetes networks in depth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82</TotalTime>
  <Words>287</Words>
  <Application>Microsoft Office PowerPoint</Application>
  <PresentationFormat>Widescreen</PresentationFormat>
  <Paragraphs>60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ptos</vt:lpstr>
      <vt:lpstr>Arial</vt:lpstr>
      <vt:lpstr>Calibri</vt:lpstr>
      <vt:lpstr>Symbol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Learning 1 | My takeaways </vt:lpstr>
      <vt:lpstr>Learning 2 | My takeaways</vt:lpstr>
      <vt:lpstr>PowerPoint Presentation</vt:lpstr>
      <vt:lpstr>Learnings | Relevance for Shell</vt:lpstr>
      <vt:lpstr>PowerPoint Presentation</vt:lpstr>
      <vt:lpstr>Challenge faced while implementing Learnings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Neeraj, Sakshi SBOBNG-PTIV/ZSO</cp:lastModifiedBy>
  <cp:revision>540</cp:revision>
  <dcterms:created xsi:type="dcterms:W3CDTF">2022-01-18T12:35:56Z</dcterms:created>
  <dcterms:modified xsi:type="dcterms:W3CDTF">2024-09-19T13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